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5"/>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641CC6E8-11DC-47D0-B7C3-37BA73F1B792}">
          <p14:sldIdLst>
            <p14:sldId id="2147475164"/>
            <p14:sldId id="2147475165"/>
            <p14:sldId id="2147475166"/>
            <p14:sldId id="2147475167"/>
            <p14:sldId id="2147475168"/>
          </p14:sldIdLst>
        </p14:section>
        <p14:section name="Innovation ranking" id="{D9F080D1-C7E6-4BC6-BC7B-6DC47ED5E4BD}">
          <p14:sldIdLst>
            <p14:sldId id="2147475169"/>
            <p14:sldId id="2147475170"/>
            <p14:sldId id="2147475171"/>
            <p14:sldId id="2147475172"/>
            <p14:sldId id="2147475173"/>
          </p14:sldIdLst>
        </p14:section>
        <p14:section name="Innovation potential" id="{13D487D9-16E4-419D-815E-11E40D6DE4E6}">
          <p14:sldIdLst>
            <p14:sldId id="2147475174"/>
            <p14:sldId id="2147475175"/>
            <p14:sldId id="2147475176"/>
            <p14:sldId id="2147475177"/>
            <p14:sldId id="2147475178"/>
          </p14:sldIdLst>
        </p14:section>
        <p14:section name="Innovation sourcing" id="{CD8D3D93-42CA-49E3-92D6-35DF543780DD}">
          <p14:sldIdLst>
            <p14:sldId id="2147475179"/>
            <p14:sldId id="2147475180"/>
            <p14:sldId id="2147475181"/>
            <p14:sldId id="2147475182"/>
            <p14:sldId id="214747518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98" d="100"/>
          <a:sy n="98" d="100"/>
        </p:scale>
        <p:origin x="1046" y="5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notesMaster" Target="notesMasters/notesMaster1.xml"/><Relationship Id="rId26" Type="http://schemas.openxmlformats.org/officeDocument/2006/relationships/presProps" Target="presProps.xml"/><Relationship Id="rId27" Type="http://schemas.openxmlformats.org/officeDocument/2006/relationships/viewProps" Target="viewProps.xml"/><Relationship Id="rId28" Type="http://schemas.openxmlformats.org/officeDocument/2006/relationships/theme" Target="theme/theme1.xml"/><Relationship Id="rId29" Type="http://schemas.openxmlformats.org/officeDocument/2006/relationships/tableStyles" Target="tableStyle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Disposable Razors 20 pack </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006C6D"/>
              </a:solidFill>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r>
                      <a:rPr sz="500">
                        <a:solidFill>
                          <a:srgbClr val="006C6D"/>
                        </a:solidFill>
                      </a:rPr>
                      <a:t>Kirkland Disposable Razors 20 pack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Kirkland Disposable Razors 20 pack </c:v>
                </c:pt>
                <c:pt idx="4">
                  <c:v>None Razors</c:v>
                </c:pt>
                <c:pt idx="5">
                  <c:v>Harry's Razor Set Chrome Edition 1 Handle + 13 Cartridges</c:v>
                </c:pt>
              </c:strCache>
            </c:strRef>
          </c:cat>
          <c:val>
            <c:numRef>
              <c:f>Sheet1!$B$2:$B$7</c:f>
              <c:numCache>
                <c:formatCode>General</c:formatCode>
                <c:ptCount val="6"/>
                <c:pt idx="0">
                  <c:v>0.6166147599539377</c:v>
                </c:pt>
                <c:pt idx="1">
                  <c:v>0.38338524004606234</c:v>
                </c:pt>
                <c:pt idx="2">
                  <c:v>0.3557727079092232</c:v>
                </c:pt>
                <c:pt idx="3">
                  <c:v>0.26486839760964004</c:v>
                </c:pt>
                <c:pt idx="4">
                  <c:v>0.24035397268791103</c:v>
                </c:pt>
                <c:pt idx="5">
                  <c:v>0.1390049217932257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5 Disposable Razors 9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spPr>
              <a:solidFill>
                <a:srgbClr val="006C6D"/>
              </a:solidFill>
            </c:spPr>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r>
                      <a:rPr sz="500">
                        <a:solidFill>
                          <a:srgbClr val="006C6D"/>
                        </a:solidFill>
                      </a:rPr>
                      <a:t>Schick Xtreme 5 Disposable Razors 9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Schick Xtreme 5 Disposable Razors 9 Pack</c:v>
                </c:pt>
                <c:pt idx="4">
                  <c:v>None Razors</c:v>
                </c:pt>
                <c:pt idx="5">
                  <c:v>Harry's Razor Set Chrome Edition 1 Handle + 13 Cartridges</c:v>
                </c:pt>
              </c:strCache>
            </c:strRef>
          </c:cat>
          <c:val>
            <c:numRef>
              <c:f>Sheet1!$B$2:$B$7</c:f>
              <c:numCache>
                <c:formatCode>General</c:formatCode>
                <c:ptCount val="6"/>
                <c:pt idx="0">
                  <c:v>0.6150447611689056</c:v>
                </c:pt>
                <c:pt idx="1">
                  <c:v>0.38495523883109445</c:v>
                </c:pt>
                <c:pt idx="2">
                  <c:v>0.35233651414462863</c:v>
                </c:pt>
                <c:pt idx="3">
                  <c:v>0.2858626822672071</c:v>
                </c:pt>
                <c:pt idx="4">
                  <c:v>0.22954082685346314</c:v>
                </c:pt>
                <c:pt idx="5">
                  <c:v>0.13225997673470102</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Ultra Sensitive 1 Handle + 20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006C6D"/>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r>
                      <a:rPr sz="500">
                        <a:solidFill>
                          <a:srgbClr val="006C6D"/>
                        </a:solidFill>
                      </a:rPr>
                      <a:t>Schick Hydro 3 Ultra Sensitive 1 Handle + 20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Hydro 3 Ultra Sensitive 1 Handle + 20 Cartridges</c:v>
                </c:pt>
                <c:pt idx="5">
                  <c:v>Harry's Razor Set Chrome Edition 1 Handle + 13 Cartridges</c:v>
                </c:pt>
              </c:strCache>
            </c:strRef>
          </c:cat>
          <c:val>
            <c:numRef>
              <c:f>Sheet1!$B$2:$B$7</c:f>
              <c:numCache>
                <c:formatCode>General</c:formatCode>
                <c:ptCount val="6"/>
                <c:pt idx="0">
                  <c:v>0.6160844872734703</c:v>
                </c:pt>
                <c:pt idx="1">
                  <c:v>0.4222656833892813</c:v>
                </c:pt>
                <c:pt idx="2">
                  <c:v>0.3839155127265297</c:v>
                </c:pt>
                <c:pt idx="3">
                  <c:v>0.23697432096942422</c:v>
                </c:pt>
                <c:pt idx="4">
                  <c:v>0.21270686805794867</c:v>
                </c:pt>
                <c:pt idx="5">
                  <c:v>0.1280531275833458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Sensitive 1 Handle + 16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006C6D"/>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r>
                      <a:rPr sz="500">
                        <a:solidFill>
                          <a:srgbClr val="006C6D"/>
                        </a:solidFill>
                      </a:rPr>
                      <a:t>Schick Hydro 5 Sensitive 1 Handle + 16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Harry's Razor Set Chrome Edition 1 Handle + 13 Cartridges</c:v>
                </c:pt>
                <c:pt idx="5">
                  <c:v>Schick Hydro 5 Sensitive 1 Handle + 16 Cartridges</c:v>
                </c:pt>
              </c:strCache>
            </c:strRef>
          </c:cat>
          <c:val>
            <c:numRef>
              <c:f>Sheet1!$B$2:$B$7</c:f>
              <c:numCache>
                <c:formatCode>General</c:formatCode>
                <c:ptCount val="6"/>
                <c:pt idx="0">
                  <c:v>0.6162629744854023</c:v>
                </c:pt>
                <c:pt idx="1">
                  <c:v>0.4555300055661461</c:v>
                </c:pt>
                <c:pt idx="2">
                  <c:v>0.38373702551459765</c:v>
                </c:pt>
                <c:pt idx="3">
                  <c:v>0.2739049096173531</c:v>
                </c:pt>
                <c:pt idx="4">
                  <c:v>0.1428833986900312</c:v>
                </c:pt>
                <c:pt idx="5">
                  <c:v>0.127681686126469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Sensitive 1 Handle + 20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006C6D"/>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r>
                      <a:rPr sz="500">
                        <a:solidFill>
                          <a:srgbClr val="006C6D"/>
                        </a:solidFill>
                      </a:rPr>
                      <a:t>Schick Hydro 5 Sensitive 1 Handle + 20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Harry's Razor Set Chrome Edition 1 Handle + 13 Cartridges</c:v>
                </c:pt>
                <c:pt idx="5">
                  <c:v>Schick Hydro 5 Sensitive 1 Handle + 20 Cartridges</c:v>
                </c:pt>
              </c:strCache>
            </c:strRef>
          </c:cat>
          <c:val>
            <c:numRef>
              <c:f>Sheet1!$B$2:$B$7</c:f>
              <c:numCache>
                <c:formatCode>General</c:formatCode>
                <c:ptCount val="6"/>
                <c:pt idx="0">
                  <c:v>0.6158353631590492</c:v>
                </c:pt>
                <c:pt idx="1">
                  <c:v>0.4654908856048755</c:v>
                </c:pt>
                <c:pt idx="2">
                  <c:v>0.3841646368409507</c:v>
                </c:pt>
                <c:pt idx="3">
                  <c:v>0.2769589747517573</c:v>
                </c:pt>
                <c:pt idx="4">
                  <c:v>0.1485918718685766</c:v>
                </c:pt>
                <c:pt idx="5">
                  <c:v>0.1089582677747905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Quattro Titanium 4 Blade Systems 1 Handle + 13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006C6D"/>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r>
                      <a:rPr sz="500">
                        <a:solidFill>
                          <a:srgbClr val="006C6D"/>
                        </a:solidFill>
                      </a:rPr>
                      <a:t>Schick Quattro Titanium 4 Blade Systems 1 Handle + 1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Quattro Titanium 4 Blade Systems 1 Handle + 13 Cartridges</c:v>
                </c:pt>
                <c:pt idx="5">
                  <c:v>Harry's Razor Set Chrome Edition 1 Handle + 13 Cartridges</c:v>
                </c:pt>
              </c:strCache>
            </c:strRef>
          </c:cat>
          <c:val>
            <c:numRef>
              <c:f>Sheet1!$B$2:$B$7</c:f>
              <c:numCache>
                <c:formatCode>General</c:formatCode>
                <c:ptCount val="6"/>
                <c:pt idx="0">
                  <c:v>0.6167817021016273</c:v>
                </c:pt>
                <c:pt idx="1">
                  <c:v>0.45523228343394645</c:v>
                </c:pt>
                <c:pt idx="2">
                  <c:v>0.3832182978983727</c:v>
                </c:pt>
                <c:pt idx="3">
                  <c:v>0.25677448910676226</c:v>
                </c:pt>
                <c:pt idx="4">
                  <c:v>0.15181087568751067</c:v>
                </c:pt>
                <c:pt idx="5">
                  <c:v>0.13618235177178062</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Kirkland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B$2:$B$3</c:f>
              <c:numCache>
                <c:formatCode>General</c:formatCode>
                <c:ptCount val="2"/>
                <c:pt idx="0">
                  <c:v>100</c:v>
                </c:pt>
                <c:pt idx="1">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Kirkland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C$2:$C$3</c:f>
              <c:numCache>
                <c:formatCode>General</c:formatCode>
                <c:ptCount val="2"/>
                <c:pt idx="0">
                  <c:v>100</c:v>
                </c:pt>
                <c:pt idx="1">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Kirkland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D$2:$D$3</c:f>
              <c:numCache>
                <c:formatCode>General</c:formatCode>
                <c:ptCount val="2"/>
                <c:pt idx="0">
                  <c:v>100</c:v>
                </c:pt>
                <c:pt idx="1">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Kirkland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B$2:$B$2</c:f>
              <c:numCache>
                <c:formatCode>General</c:formatCode>
                <c:ptCount val="1"/>
                <c:pt idx="0">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Kirkland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C$2:$C$2</c:f>
              <c:numCache>
                <c:formatCode>General</c:formatCode>
                <c:ptCount val="1"/>
                <c:pt idx="0">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Kirkland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D$2:$D$2</c:f>
              <c:numCache>
                <c:formatCode>General</c:formatCode>
                <c:ptCount val="1"/>
                <c:pt idx="0">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Blad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B$2:$B$3</c:f>
              <c:numCache>
                <c:formatCode>General</c:formatCode>
                <c:ptCount val="2"/>
                <c:pt idx="0">
                  <c:v>100</c:v>
                </c:pt>
                <c:pt idx="1">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Blad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C$2:$C$3</c:f>
              <c:numCache>
                <c:formatCode>General</c:formatCode>
                <c:ptCount val="2"/>
                <c:pt idx="0">
                  <c:v>100</c:v>
                </c:pt>
                <c:pt idx="1">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Blad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D$2:$D$3</c:f>
              <c:numCache>
                <c:formatCode>General</c:formatCode>
                <c:ptCount val="2"/>
                <c:pt idx="0">
                  <c:v>100</c:v>
                </c:pt>
                <c:pt idx="1">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B$2:$B$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C$2:$C$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D$2:$D$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C$2:$C$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D$2:$D$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Disposable Razors 30 pack </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006C6D"/>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r>
                      <a:rPr sz="500">
                        <a:solidFill>
                          <a:srgbClr val="006C6D"/>
                        </a:solidFill>
                      </a:rPr>
                      <a:t>Kirkland Disposable Razors 30 pack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Kirkland Disposable Razors 30 pack </c:v>
                </c:pt>
                <c:pt idx="4">
                  <c:v>None Razors</c:v>
                </c:pt>
                <c:pt idx="5">
                  <c:v>Harry's Razor Set Chrome Edition 1 Handle + 13 Cartridges</c:v>
                </c:pt>
              </c:strCache>
            </c:strRef>
          </c:cat>
          <c:val>
            <c:numRef>
              <c:f>Sheet1!$B$2:$B$7</c:f>
              <c:numCache>
                <c:formatCode>General</c:formatCode>
                <c:ptCount val="6"/>
                <c:pt idx="0">
                  <c:v>0.6167118478049013</c:v>
                </c:pt>
                <c:pt idx="1">
                  <c:v>0.3832881521950988</c:v>
                </c:pt>
                <c:pt idx="2">
                  <c:v>0.3390938240913519</c:v>
                </c:pt>
                <c:pt idx="3">
                  <c:v>0.2754169440703632</c:v>
                </c:pt>
                <c:pt idx="4">
                  <c:v>0.24906759443542584</c:v>
                </c:pt>
                <c:pt idx="5">
                  <c:v>0.1364216374028592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Disposable Razors 20 pack </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Schick Hydro 5 Sensitive 1 Handle + 16 Cartridges</c:v>
                </c:pt>
                <c:pt idx="9">
                  <c:v>Schick Hydro 5 Sensitive 1 Handle + 20 Cartridges</c:v>
                </c:pt>
                <c:pt idx="10">
                  <c:v>Bic Flex 5 Disposable Razors 9 Pack </c:v>
                </c:pt>
              </c:strCache>
            </c:strRef>
          </c:cat>
          <c:val>
            <c:numRef>
              <c:f>Sheet1!$B$2:$B$12</c:f>
              <c:numCache>
                <c:formatCode>General</c:formatCode>
                <c:ptCount val="11"/>
                <c:pt idx="0">
                  <c:v>0.611973430396013</c:v>
                </c:pt>
                <c:pt idx="1">
                  <c:v>0.24056735833945805</c:v>
                </c:pt>
                <c:pt idx="2">
                  <c:v>0.14745921126452793</c:v>
                </c:pt>
                <c:pt idx="3">
                  <c:v>0.005752090230542393</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Disposable Razors 30 pack </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Schick Hydro 5 Sensitive 1 Handle + 16 Cartridges</c:v>
                </c:pt>
                <c:pt idx="9">
                  <c:v>Schick Hydro 5 Sensitive 1 Handle + 20 Cartridges</c:v>
                </c:pt>
                <c:pt idx="10">
                  <c:v>Bic Flex 5 Disposable Razors 9 Pack </c:v>
                </c:pt>
              </c:strCache>
            </c:strRef>
          </c:cat>
          <c:val>
            <c:numRef>
              <c:f>Sheet1!$B$2:$B$12</c:f>
              <c:numCache>
                <c:formatCode>General</c:formatCode>
                <c:ptCount val="11"/>
                <c:pt idx="0">
                  <c:v>0.6588491030130843</c:v>
                </c:pt>
                <c:pt idx="1">
                  <c:v>0.18939446179749697</c:v>
                </c:pt>
                <c:pt idx="2">
                  <c:v>0.15175643518941773</c:v>
                </c:pt>
                <c:pt idx="3">
                  <c:v>0.005275462210046071</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5 blades 1 Handle + 1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2120816505316966</c:v>
                </c:pt>
                <c:pt idx="1">
                  <c:v>0.2979233183775443</c:v>
                </c:pt>
                <c:pt idx="2">
                  <c:v>0.2808685165692858</c:v>
                </c:pt>
                <c:pt idx="3">
                  <c:v>0.023677193377583384</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5 Blade Sensitive Refills 1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Proglide Plus Refills 16 Pack</c:v>
                </c:pt>
                <c:pt idx="1">
                  <c:v>Gillette Mach 3 Advanced Refills 20 Pack</c:v>
                </c:pt>
                <c:pt idx="2">
                  <c:v>Schick Xtreme 3 Sensitive Disposable Razors 20 Pack</c:v>
                </c:pt>
                <c:pt idx="3">
                  <c:v>Schick Xtreme 3 Sensitive Disposable Razors 30 Pack</c:v>
                </c:pt>
                <c:pt idx="4">
                  <c:v>Schick Xtreme 5 Disposable Razors 9 Pack</c:v>
                </c:pt>
                <c:pt idx="5">
                  <c:v>Kirkland Disposable Razors 20 pack </c:v>
                </c:pt>
                <c:pt idx="6">
                  <c:v>Schick Xtreme 2 Sensitive Disposable Razors 48 Pack</c:v>
                </c:pt>
                <c:pt idx="7">
                  <c:v>Schick Xtreme 2 Sensitive Disposable Razors 6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618517916731158</c:v>
                </c:pt>
                <c:pt idx="1">
                  <c:v>0.38148208326884153</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3 Ultra Sensitive Refills 2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Proglide Plus Refills 16 Pack</c:v>
                </c:pt>
                <c:pt idx="1">
                  <c:v>Gillette Mach 3 Advanced Refills 20 Pack</c:v>
                </c:pt>
                <c:pt idx="2">
                  <c:v>Schick Xtreme 3 Sensitive Disposable Razors 20 Pack</c:v>
                </c:pt>
                <c:pt idx="3">
                  <c:v>Schick Xtreme 3 Sensitive Disposable Razors 30 Pack</c:v>
                </c:pt>
                <c:pt idx="4">
                  <c:v>Schick Xtreme 5 Disposable Razors 9 Pack</c:v>
                </c:pt>
                <c:pt idx="5">
                  <c:v>Kirkland Disposable Razors 20 pack </c:v>
                </c:pt>
                <c:pt idx="6">
                  <c:v>Schick Xtreme 2 Sensitive Disposable Razors 48 Pack</c:v>
                </c:pt>
                <c:pt idx="7">
                  <c:v>Schick Xtreme 2 Sensitive Disposable Razors 6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6185179167311581</c:v>
                </c:pt>
                <c:pt idx="1">
                  <c:v>0.381482083268841</c:v>
                </c:pt>
                <c:pt idx="2">
                  <c:v>-0.0</c:v>
                </c:pt>
                <c:pt idx="3">
                  <c:v>-0.0</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Schick Xtreme 3 Sensitive Disposable Razors 2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5816518813510637</c:v>
                </c:pt>
                <c:pt idx="1">
                  <c:v>0.26630456147401965</c:v>
                </c:pt>
                <c:pt idx="2">
                  <c:v>0.15204355717491527</c:v>
                </c:pt>
                <c:pt idx="3">
                  <c:v>0.009156483036498336</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Xtreme 3 Sensitive Disposable Razors 3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863004985491116</c:v>
                </c:pt>
                <c:pt idx="1">
                  <c:v>0.18595013891367332</c:v>
                </c:pt>
                <c:pt idx="2">
                  <c:v>0.12774936253721367</c:v>
                </c:pt>
                <c:pt idx="3">
                  <c:v>0.005957913232098407</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2 Sensitive Disposable Razors 48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252175409463738</c:v>
                </c:pt>
                <c:pt idx="1">
                  <c:v>0.2101905238281481</c:v>
                </c:pt>
                <c:pt idx="2">
                  <c:v>0.16459193522547796</c:v>
                </c:pt>
                <c:pt idx="3">
                  <c:v>0.0050354414198318835</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2 Sensitive Disposable Razors 6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865880817736398</c:v>
                </c:pt>
                <c:pt idx="1">
                  <c:v>0.16744429994072244</c:v>
                </c:pt>
                <c:pt idx="2">
                  <c:v>0.14596761828563792</c:v>
                </c:pt>
                <c:pt idx="3">
                  <c:v>0.00589853560211436</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Schick Xtreme 5 Disposable Razors 9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5780369791401142</c:v>
                </c:pt>
                <c:pt idx="1">
                  <c:v>0.26203305515690584</c:v>
                </c:pt>
                <c:pt idx="2">
                  <c:v>0.15992996570297965</c:v>
                </c:pt>
                <c:pt idx="3">
                  <c:v>0.010535468904736674</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5 blades 1 Handle + 13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sz="500">
                        <a:solidFill>
                          <a:srgbClr val="006C6D"/>
                        </a:solidFill>
                      </a:rPr>
                      <a:t>Kirkland 5 blades 1 Handle + 1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Kirkland 5 blades 1 Handle + 13 Cartridges</c:v>
                </c:pt>
                <c:pt idx="5">
                  <c:v>Harry's Razor Set Chrome Edition 1 Handle + 13 Cartridges</c:v>
                </c:pt>
              </c:strCache>
            </c:strRef>
          </c:cat>
          <c:val>
            <c:numRef>
              <c:f>Sheet1!$B$2:$B$7</c:f>
              <c:numCache>
                <c:formatCode>General</c:formatCode>
                <c:ptCount val="6"/>
                <c:pt idx="0">
                  <c:v>0.613920227823565</c:v>
                </c:pt>
                <c:pt idx="1">
                  <c:v>0.438127507892898</c:v>
                </c:pt>
                <c:pt idx="2">
                  <c:v>0.386079772176435</c:v>
                </c:pt>
                <c:pt idx="3">
                  <c:v>0.2518459894475629</c:v>
                </c:pt>
                <c:pt idx="4">
                  <c:v>0.18394089652985843</c:v>
                </c:pt>
                <c:pt idx="5">
                  <c:v>0.1260856061296807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Schick Hydro 3 Ultra Sensitive 1 Handle + 20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3899153879431496</c:v>
                </c:pt>
                <c:pt idx="1">
                  <c:v>0.24901704080280004</c:v>
                </c:pt>
                <c:pt idx="2">
                  <c:v>0.31199142040288447</c:v>
                </c:pt>
                <c:pt idx="3">
                  <c:v>0.009181422882821616</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Schick Hydro 5 Sensitive 1 Handle + 16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890183812024571</c:v>
                </c:pt>
                <c:pt idx="1">
                  <c:v>0.29530944047360685</c:v>
                </c:pt>
                <c:pt idx="2">
                  <c:v>0.21567217832393484</c:v>
                </c:pt>
                <c:pt idx="3">
                  <c:v>0.015180779809642695</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Sensitive 1 Handle + 20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8599149655270374</c:v>
                </c:pt>
                <c:pt idx="1">
                  <c:v>0.28943407853603076</c:v>
                </c:pt>
                <c:pt idx="2">
                  <c:v>0.22457442491126214</c:v>
                </c:pt>
                <c:pt idx="3">
                  <c:v>0.021867174798293466</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Quattro Titanium 4 Blade Systems 1 Handle + 1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014197552697062</c:v>
                </c:pt>
                <c:pt idx="1">
                  <c:v>0.2971149637864346</c:v>
                </c:pt>
                <c:pt idx="2">
                  <c:v>0.30146528094385855</c:v>
                </c:pt>
                <c:pt idx="3">
                  <c:v>0.009226018944636627</c:v>
                </c:pt>
                <c:pt idx="4">
                  <c:v>-0.0</c:v>
                </c:pt>
                <c:pt idx="5">
                  <c:v>-0.0</c:v>
                </c:pt>
                <c:pt idx="6">
                  <c:v>-0.0</c:v>
                </c:pt>
                <c:pt idx="7">
                  <c:v>-0.0</c:v>
                </c:pt>
                <c:pt idx="8">
                  <c:v>-0.0</c:v>
                </c:pt>
                <c:pt idx="9">
                  <c:v>-0.0</c:v>
                </c:pt>
                <c:pt idx="10">
                  <c:v>-0.0</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Sensitive Refills 1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006C6D"/>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r>
                      <a:rPr sz="500">
                        <a:solidFill>
                          <a:srgbClr val="006C6D"/>
                        </a:solidFill>
                      </a:rPr>
                      <a:t>Schick Hydro 5 Blade Sensitive Refills 1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Custom Plus 3 Sensitive Disposable Razors 30 Pack</c:v>
                </c:pt>
                <c:pt idx="1">
                  <c:v>Gillette Proglide Plus Refills 16 Pack</c:v>
                </c:pt>
                <c:pt idx="2">
                  <c:v>Gillette Mach 3 Advanced Refills 20 Pack</c:v>
                </c:pt>
                <c:pt idx="3">
                  <c:v>None Razors</c:v>
                </c:pt>
                <c:pt idx="4">
                  <c:v>Harry's Razor Set Chrome Edition 1 Handle + 13 Cartridges</c:v>
                </c:pt>
                <c:pt idx="5">
                  <c:v>Schick Hydro 5 Blade Sensitive Refills 16 Pack</c:v>
                </c:pt>
              </c:strCache>
            </c:strRef>
          </c:cat>
          <c:val>
            <c:numRef>
              <c:f>Sheet1!$B$2:$B$7</c:f>
              <c:numCache>
                <c:formatCode>General</c:formatCode>
                <c:ptCount val="6"/>
                <c:pt idx="0">
                  <c:v>0.5197258192498067</c:v>
                </c:pt>
                <c:pt idx="1">
                  <c:v>0.5145259295149346</c:v>
                </c:pt>
                <c:pt idx="2">
                  <c:v>0.3173431491274144</c:v>
                </c:pt>
                <c:pt idx="3">
                  <c:v>0.30137091989253156</c:v>
                </c:pt>
                <c:pt idx="4">
                  <c:v>0.17890326085766167</c:v>
                </c:pt>
                <c:pt idx="5">
                  <c:v>0.1681309213576511</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Ultra Sensitive Refills 20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sz="500">
                        <a:solidFill>
                          <a:srgbClr val="006C6D"/>
                        </a:solidFill>
                      </a:rPr>
                      <a:t>Schick Hydro 3 Ultra Sensitive Refills 2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Custom Plus 3 Sensitive Disposable Razors 30 Pack</c:v>
                </c:pt>
                <c:pt idx="1">
                  <c:v>Gillette Proglide Plus Refills 16 Pack</c:v>
                </c:pt>
                <c:pt idx="2">
                  <c:v>None Razors</c:v>
                </c:pt>
                <c:pt idx="3">
                  <c:v>Gillette Mach 3 Advanced Refills 20 Pack</c:v>
                </c:pt>
                <c:pt idx="4">
                  <c:v>Schick Hydro 3 Ultra Sensitive Refills 20 Pack</c:v>
                </c:pt>
                <c:pt idx="5">
                  <c:v>Harry's Razor Set Chrome Edition 1 Handle + 13 Cartridges</c:v>
                </c:pt>
              </c:strCache>
            </c:strRef>
          </c:cat>
          <c:val>
            <c:numRef>
              <c:f>Sheet1!$B$2:$B$7</c:f>
              <c:numCache>
                <c:formatCode>General</c:formatCode>
                <c:ptCount val="6"/>
                <c:pt idx="0">
                  <c:v>0.5197258192498067</c:v>
                </c:pt>
                <c:pt idx="1">
                  <c:v>0.47872706973683826</c:v>
                </c:pt>
                <c:pt idx="2">
                  <c:v>0.30137091989253156</c:v>
                </c:pt>
                <c:pt idx="3">
                  <c:v>0.29526355654427316</c:v>
                </c:pt>
                <c:pt idx="4">
                  <c:v>0.22600937371888863</c:v>
                </c:pt>
                <c:pt idx="5">
                  <c:v>0.17890326085766167</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3 Sensitive Disposable Razors 20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006C6D"/>
              </a:solidFill>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r>
                      <a:rPr sz="500">
                        <a:solidFill>
                          <a:srgbClr val="006C6D"/>
                        </a:solidFill>
                      </a:rPr>
                      <a:t>Schick Xtreme 3 Sensitive Disposable Razors 2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Schick Xtreme 3 Sensitive Disposable Razors 20 Pack</c:v>
                </c:pt>
                <c:pt idx="4">
                  <c:v>None Razors</c:v>
                </c:pt>
                <c:pt idx="5">
                  <c:v>Harry's Razor Set Chrome Edition 1 Handle + 13 Cartridges</c:v>
                </c:pt>
              </c:strCache>
            </c:strRef>
          </c:cat>
          <c:val>
            <c:numRef>
              <c:f>Sheet1!$B$2:$B$7</c:f>
              <c:numCache>
                <c:formatCode>General</c:formatCode>
                <c:ptCount val="6"/>
                <c:pt idx="0">
                  <c:v>0.6154620925345108</c:v>
                </c:pt>
                <c:pt idx="1">
                  <c:v>0.3845379074654892</c:v>
                </c:pt>
                <c:pt idx="2">
                  <c:v>0.3454137261242133</c:v>
                </c:pt>
                <c:pt idx="3">
                  <c:v>0.29402310083593247</c:v>
                </c:pt>
                <c:pt idx="4">
                  <c:v>0.22714335327795107</c:v>
                </c:pt>
                <c:pt idx="5">
                  <c:v>0.1334198197619031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3 Sensitive Disposable Razors 30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sz="500">
                        <a:solidFill>
                          <a:srgbClr val="006C6D"/>
                        </a:solidFill>
                      </a:rPr>
                      <a:t>Schick Xtreme 3 Sensitive Disposable Razors 3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None Razors</c:v>
                </c:pt>
                <c:pt idx="4">
                  <c:v>Schick Xtreme 3 Sensitive Disposable Razors 30 Pack</c:v>
                </c:pt>
                <c:pt idx="5">
                  <c:v>Harry's Razor Set Chrome Edition 1 Handle + 13 Cartridges</c:v>
                </c:pt>
              </c:strCache>
            </c:strRef>
          </c:cat>
          <c:val>
            <c:numRef>
              <c:f>Sheet1!$B$2:$B$7</c:f>
              <c:numCache>
                <c:formatCode>General</c:formatCode>
                <c:ptCount val="6"/>
                <c:pt idx="0">
                  <c:v>0.6168219145178288</c:v>
                </c:pt>
                <c:pt idx="1">
                  <c:v>0.38317808548217125</c:v>
                </c:pt>
                <c:pt idx="2">
                  <c:v>0.35290414889495375</c:v>
                </c:pt>
                <c:pt idx="3">
                  <c:v>0.25498164144607405</c:v>
                </c:pt>
                <c:pt idx="4">
                  <c:v>0.24608709953699362</c:v>
                </c:pt>
                <c:pt idx="5">
                  <c:v>0.1460271101219785</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2 Sensitive Disposable Razors 48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006C6D"/>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r>
                      <a:rPr sz="500">
                        <a:solidFill>
                          <a:srgbClr val="006C6D"/>
                        </a:solidFill>
                      </a:rPr>
                      <a:t>Schick Xtreme 2 Sensitive Disposable Razors 48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None Razors</c:v>
                </c:pt>
                <c:pt idx="4">
                  <c:v>Schick Xtreme 2 Sensitive Disposable Razors 48 Pack</c:v>
                </c:pt>
                <c:pt idx="5">
                  <c:v>Harry's Razor Set Chrome Edition 1 Handle + 13 Cartridges</c:v>
                </c:pt>
              </c:strCache>
            </c:strRef>
          </c:cat>
          <c:val>
            <c:numRef>
              <c:f>Sheet1!$B$2:$B$7</c:f>
              <c:numCache>
                <c:formatCode>General</c:formatCode>
                <c:ptCount val="6"/>
                <c:pt idx="0">
                  <c:v>0.6170003041928581</c:v>
                </c:pt>
                <c:pt idx="1">
                  <c:v>0.38299969580714177</c:v>
                </c:pt>
                <c:pt idx="2">
                  <c:v>0.3684311039296426</c:v>
                </c:pt>
                <c:pt idx="3">
                  <c:v>0.25175366702442353</c:v>
                </c:pt>
                <c:pt idx="4">
                  <c:v>0.24069379684751988</c:v>
                </c:pt>
                <c:pt idx="5">
                  <c:v>0.1391214321984142</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2 Sensitive Disposable Razors 60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006C6D"/>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r>
                      <a:rPr sz="500">
                        <a:solidFill>
                          <a:srgbClr val="006C6D"/>
                        </a:solidFill>
                      </a:rPr>
                      <a:t>Schick Xtreme 2 Sensitive Disposable Razors 6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Xtreme 2 Sensitive Disposable Razors 60 Pack</c:v>
                </c:pt>
                <c:pt idx="5">
                  <c:v>Harry's Razor Set Chrome Edition 1 Handle + 13 Cartridges</c:v>
                </c:pt>
              </c:strCache>
            </c:strRef>
          </c:cat>
          <c:val>
            <c:numRef>
              <c:f>Sheet1!$B$2:$B$7</c:f>
              <c:numCache>
                <c:formatCode>General</c:formatCode>
                <c:ptCount val="6"/>
                <c:pt idx="0">
                  <c:v>0.6171373327695847</c:v>
                </c:pt>
                <c:pt idx="1">
                  <c:v>0.3839015575132797</c:v>
                </c:pt>
                <c:pt idx="2">
                  <c:v>0.38286266723041534</c:v>
                </c:pt>
                <c:pt idx="3">
                  <c:v>0.2669631305708745</c:v>
                </c:pt>
                <c:pt idx="4">
                  <c:v>0.20007849298690297</c:v>
                </c:pt>
                <c:pt idx="5">
                  <c:v>0.14905681892894296</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2</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3</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4</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7E13843-85DD-499F-B752-681F6384D798}" type="slidenum">
              <a:rPr lang="en-CH" smtClean="0"/>
              <a:t>7</a:t>
            </a:fld>
            <a:endParaRPr lang="en-CH"/>
          </a:p>
        </p:txBody>
      </p:sp>
    </p:spTree>
    <p:extLst>
      <p:ext uri="{BB962C8B-B14F-4D97-AF65-F5344CB8AC3E}">
        <p14:creationId xmlns:p14="http://schemas.microsoft.com/office/powerpoint/2010/main" val="17001270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xml"/><Relationship Id="rId6" Type="http://schemas.openxmlformats.org/officeDocument/2006/relationships/chart" Target="../charts/chart21.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xml"/><Relationship Id="rId6" Type="http://schemas.openxmlformats.org/officeDocument/2006/relationships/chart" Target="../charts/chart2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xml"/><Relationship Id="rId6" Type="http://schemas.openxmlformats.org/officeDocument/2006/relationships/chart" Target="../charts/chart26.xml"/><Relationship Id="rId7" Type="http://schemas.openxmlformats.org/officeDocument/2006/relationships/chart" Target="../charts/chart27.xml"/><Relationship Id="rId8" Type="http://schemas.openxmlformats.org/officeDocument/2006/relationships/chart" Target="../charts/chart28.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xml"/><Relationship Id="rId6" Type="http://schemas.openxmlformats.org/officeDocument/2006/relationships/chart" Target="../charts/chart31.xml"/><Relationship Id="rId7" Type="http://schemas.openxmlformats.org/officeDocument/2006/relationships/chart" Target="../charts/chart32.xml"/><Relationship Id="rId8" Type="http://schemas.openxmlformats.org/officeDocument/2006/relationships/chart" Target="../charts/chart33.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xml"/><Relationship Id="rId6" Type="http://schemas.openxmlformats.org/officeDocument/2006/relationships/chart" Target="../charts/chart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3.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xml"/><Relationship Id="rId6" Type="http://schemas.openxmlformats.org/officeDocument/2006/relationships/chart" Target="../charts/chart5.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xml"/><Relationship Id="rId6" Type="http://schemas.openxmlformats.org/officeDocument/2006/relationships/chart" Target="../charts/chart7.xml"/><Relationship Id="rId7" Type="http://schemas.openxmlformats.org/officeDocument/2006/relationships/chart" Target="../charts/chart8.xml"/><Relationship Id="rId8" Type="http://schemas.openxmlformats.org/officeDocument/2006/relationships/chart" Target="../charts/chart9.xml"/><Relationship Id="rId9"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Kirkland Dispo</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Kirkland Disposable Razors 20 pack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Kirkland Disposable Razors 30 pack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19261378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Razor</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E1B14A4-23FE-9DAB-6653-F6663D39C3E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741581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Kirkland Disp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0843212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Kirkland Razor</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7494080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Blade</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627033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Disp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402936">
                  <a:extLst>
                    <a:ext uri="{9D8B030D-6E8A-4147-A177-3AD203B41FA5}">
                      <a16:colId xmlns:a16="http://schemas.microsoft.com/office/drawing/2014/main" val="4292788590"/>
                    </a:ext>
                  </a:extLst>
                </a:gridCol>
                <a:gridCol w="1402936">
                  <a:extLst>
                    <a:ext uri="{9D8B030D-6E8A-4147-A177-3AD203B41FA5}">
                      <a16:colId xmlns:a16="http://schemas.microsoft.com/office/drawing/2014/main" val="401539003"/>
                    </a:ext>
                  </a:extLst>
                </a:gridCol>
                <a:gridCol w="1402936">
                  <a:extLst>
                    <a:ext uri="{9D8B030D-6E8A-4147-A177-3AD203B41FA5}">
                      <a16:colId xmlns:a16="http://schemas.microsoft.com/office/drawing/2014/main" val="138763722"/>
                    </a:ext>
                  </a:extLst>
                </a:gridCol>
                <a:gridCol w="1402936">
                  <a:extLst>
                    <a:ext uri="{9D8B030D-6E8A-4147-A177-3AD203B41FA5}">
                      <a16:colId xmlns:a16="http://schemas.microsoft.com/office/drawing/2014/main" val="2633844746"/>
                    </a:ext>
                  </a:extLst>
                </a:gridCol>
                <a:gridCol w="1402936">
                  <a:extLst>
                    <a:ext uri="{9D8B030D-6E8A-4147-A177-3AD203B41FA5}">
                      <a16:colId xmlns:a16="http://schemas.microsoft.com/office/drawing/2014/main" val="2595269352"/>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585252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Razor</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093091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Kirkland Disp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Disposable Razors 20 pack </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Disposable Razors 30 pack </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Harry's Razor Set Chrome Edition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Schick Hydro 5 Sensitive 1 Handle + 16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Schick Hydro 5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3929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Kirkland Razor</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5 blades 1 Handle + 1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rry's Razor Set Chrome Edition 1 Handle + 1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474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Blad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Sensitive Refills 1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Ultra Sensitive Refills 2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Gillette Proglide Plus Refills 16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Gillette Mach 3 Advanced Refills 2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Schick Xtreme 5 Disposable Razors 9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Kirkland Disposable Razors 2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071338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Disp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3977227795"/>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3 Sensitive Disposable Razors 2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3 Sensitive Disposable Razors 3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2 Sensitive Disposable Razors 48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2 Sensitive Disposable Razors 6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5 Disposable Razors 9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algn="l">
                        <a:defRPr>
                          <a:latin typeface="Nexa Book"/>
                        </a:defRPr>
                      </a:pPr>
                      <a:r>
                        <a:rPr sz="700" b="0"/>
                        <a:t>Harry's Razor Set Chrome Edition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algn="l">
                        <a:defRPr>
                          <a:latin typeface="Nexa Book"/>
                        </a:defRPr>
                      </a:pPr>
                      <a:r>
                        <a:rPr sz="700" b="0"/>
                        <a:t>Schick Hydro 3 Ultra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algn="l">
                        <a:defRPr>
                          <a:latin typeface="Nexa Book"/>
                        </a:defRPr>
                      </a:pPr>
                      <a:r>
                        <a:rPr sz="700" b="0"/>
                        <a:t>Kirkland Disposable Razors 2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algn="l">
                        <a:defRPr>
                          <a:latin typeface="Nexa Book"/>
                        </a:defRPr>
                      </a:pPr>
                      <a:r>
                        <a:rPr sz="700" b="0"/>
                        <a:t>Kirkland Disposable Razors 3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algn="l">
                        <a:defRPr>
                          <a:latin typeface="Nexa Book"/>
                        </a:defRPr>
                      </a:pPr>
                      <a:r>
                        <a:rPr sz="700" b="0"/>
                        <a:t>Schick Hydro 5 Sensitive 1 Handle + 16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algn="l">
                        <a:defRPr>
                          <a:latin typeface="Nexa Book"/>
                        </a:defRPr>
                      </a:pPr>
                      <a:r>
                        <a:rPr sz="700" b="0"/>
                        <a:t>Schick Quattro Titanium 4 Blade Systems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algn="l">
                        <a:defRPr>
                          <a:latin typeface="Nexa Book"/>
                        </a:defRPr>
                      </a:pPr>
                      <a:r>
                        <a:rPr sz="700" b="0"/>
                        <a:t>Schick Hydro 5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algn="l">
                        <a:defRPr>
                          <a:latin typeface="Nexa Book"/>
                        </a:defRPr>
                      </a:pPr>
                      <a:r>
                        <a:rPr sz="700" b="0"/>
                        <a:t>Kirkland 5 blades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3185406269"/>
              </p:ext>
            </p:extLst>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994772514"/>
              </p:ext>
            </p:extLst>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1569479149"/>
              </p:ext>
            </p:extLst>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2032456826"/>
              </p:ext>
            </p:extLst>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1793043530"/>
              </p:ext>
            </p:extLst>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590507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Kirkland Razor</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Kirkland 5 blades 1 Handle + 1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6.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19971041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Razor</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Ultra Sensitive 1 Handle + 20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Sensitive 1 Handle + 16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Sensitive 1 Handle + 20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Quattro Titanium 4 Blade Systems 1 Handle + 1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rry's Razor Set Chrome Edition 1 Handle + 1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427771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Schick Blade</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3</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Schick Hydro 5 Blade Sensitive Refills 1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8.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Schick Hydro 3 Ultra Sensitive Refills 2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292770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Schick Dispo</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4</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696912">
                <a:tc>
                  <a:txBody>
                    <a:bodyPr/>
                    <a:lstStyle/>
                    <a:p>
                      <a:pPr algn="ctr">
                        <a:defRPr sz="800">
                          <a:latin typeface="Nexa Book"/>
                        </a:defRPr>
                      </a:pPr>
                      <a:r>
                        <a:rPr sz="700"/>
                        <a:t>Schick Xtreme 3 Sensitive Disposable Razors 2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9.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696912">
                <a:tc>
                  <a:txBody>
                    <a:bodyPr/>
                    <a:lstStyle/>
                    <a:p>
                      <a:pPr algn="ctr">
                        <a:defRPr sz="800">
                          <a:latin typeface="Nexa Book"/>
                        </a:defRPr>
                      </a:pPr>
                      <a:r>
                        <a:rPr sz="700"/>
                        <a:t>Schick Xtreme 3 Sensitive Disposable Razors 3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6.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696912">
                <a:tc>
                  <a:txBody>
                    <a:bodyPr/>
                    <a:lstStyle/>
                    <a:p>
                      <a:pPr algn="ctr">
                        <a:defRPr sz="800">
                          <a:latin typeface="Nexa Book"/>
                        </a:defRPr>
                      </a:pPr>
                      <a:r>
                        <a:rPr sz="700"/>
                        <a:t>Schick Xtreme 2 Sensitive Disposable Razors 48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2.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696912">
                <a:tc>
                  <a:txBody>
                    <a:bodyPr/>
                    <a:lstStyle/>
                    <a:p>
                      <a:pPr algn="ctr">
                        <a:defRPr sz="800">
                          <a:latin typeface="Nexa Book"/>
                        </a:defRPr>
                      </a:pPr>
                      <a:r>
                        <a:rPr sz="700"/>
                        <a:t>Schick Xtreme 2 Sensitive Disposable Razors 6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2.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696912">
                <a:tc>
                  <a:txBody>
                    <a:bodyPr/>
                    <a:lstStyle/>
                    <a:p>
                      <a:pPr algn="ctr">
                        <a:defRPr sz="800">
                          <a:latin typeface="Nexa Book"/>
                        </a:defRPr>
                      </a:pPr>
                      <a:r>
                        <a:rPr sz="700"/>
                        <a:t>Schick Xtreme 5 Disposable Razors 9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3.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1756542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Schick Razor</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Schick Hydro 3 Ultra Sensitive 1 Handle + 20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7.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Schick Hydro 5 Sensitive 1 Handle + 16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6.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Schick Hydro 5 Sensitive 1 Handle + 20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7.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Schick Quattro Titanium 4 Blade Systems 1 Handle + 1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5.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170317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Kirkland Dispo</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2101227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Kirkland Razor</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25625760-26AA-518B-1E4F-7E7D950DCC4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821075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Blade</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320253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extLst>
              <p:ext uri="{D42A27DB-BD31-4B8C-83A1-F6EECF244321}">
                <p14:modId xmlns:p14="http://schemas.microsoft.com/office/powerpoint/2010/main" val="1663001161"/>
              </p:ext>
            </p:extLst>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Dispo</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extLst>
              <p:ext uri="{D42A27DB-BD31-4B8C-83A1-F6EECF244321}">
                <p14:modId xmlns:p14="http://schemas.microsoft.com/office/powerpoint/2010/main" val="2342562657"/>
              </p:ext>
            </p:extLst>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extLst>
              <p:ext uri="{D42A27DB-BD31-4B8C-83A1-F6EECF244321}">
                <p14:modId xmlns:p14="http://schemas.microsoft.com/office/powerpoint/2010/main" val="3412502652"/>
              </p:ext>
            </p:extLst>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extLst>
              <p:ext uri="{D42A27DB-BD31-4B8C-83A1-F6EECF244321}">
                <p14:modId xmlns:p14="http://schemas.microsoft.com/office/powerpoint/2010/main" val="1020182936"/>
              </p:ext>
            </p:extLst>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extLst>
              <p:ext uri="{D42A27DB-BD31-4B8C-83A1-F6EECF244321}">
                <p14:modId xmlns:p14="http://schemas.microsoft.com/office/powerpoint/2010/main" val="1168962503"/>
              </p:ext>
            </p:extLst>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0FE41F-F4DB-491D-DF6A-A2609B67DECB}"/>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90BABC3B-0054-66FB-EC7F-6B54066BA6CF}"/>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383323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789</Words>
  <Application>Microsoft Office PowerPoint</Application>
  <PresentationFormat>On-screen Show (16:9)</PresentationFormat>
  <Paragraphs>1126</Paragraphs>
  <Slides>20</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9"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i SALEM</cp:lastModifiedBy>
  <cp:revision>16</cp:revision>
  <dcterms:created xsi:type="dcterms:W3CDTF">2024-07-08T12:20:01Z</dcterms:created>
  <dcterms:modified xsi:type="dcterms:W3CDTF">2025-09-10T12:5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